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</p:sldMasterIdLst>
  <p:notesMasterIdLst>
    <p:notesMasterId r:id="rId38"/>
  </p:notesMasterIdLst>
  <p:handoutMasterIdLst>
    <p:handoutMasterId r:id="rId39"/>
  </p:handoutMasterIdLst>
  <p:sldIdLst>
    <p:sldId id="332" r:id="rId8"/>
    <p:sldId id="341" r:id="rId9"/>
    <p:sldId id="342" r:id="rId10"/>
    <p:sldId id="343" r:id="rId11"/>
    <p:sldId id="344" r:id="rId12"/>
    <p:sldId id="345" r:id="rId13"/>
    <p:sldId id="346" r:id="rId14"/>
    <p:sldId id="367" r:id="rId15"/>
    <p:sldId id="366" r:id="rId16"/>
    <p:sldId id="347" r:id="rId17"/>
    <p:sldId id="348" r:id="rId18"/>
    <p:sldId id="349" r:id="rId19"/>
    <p:sldId id="358" r:id="rId20"/>
    <p:sldId id="350" r:id="rId21"/>
    <p:sldId id="351" r:id="rId22"/>
    <p:sldId id="352" r:id="rId23"/>
    <p:sldId id="353" r:id="rId24"/>
    <p:sldId id="354" r:id="rId25"/>
    <p:sldId id="355" r:id="rId26"/>
    <p:sldId id="356" r:id="rId27"/>
    <p:sldId id="359" r:id="rId28"/>
    <p:sldId id="360" r:id="rId29"/>
    <p:sldId id="365" r:id="rId30"/>
    <p:sldId id="361" r:id="rId31"/>
    <p:sldId id="362" r:id="rId32"/>
    <p:sldId id="363" r:id="rId33"/>
    <p:sldId id="364" r:id="rId34"/>
    <p:sldId id="357" r:id="rId35"/>
    <p:sldId id="331" r:id="rId36"/>
    <p:sldId id="340" r:id="rId37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  <p14:sldId id="343"/>
            <p14:sldId id="344"/>
            <p14:sldId id="345"/>
            <p14:sldId id="346"/>
            <p14:sldId id="367"/>
            <p14:sldId id="366"/>
            <p14:sldId id="347"/>
            <p14:sldId id="348"/>
            <p14:sldId id="349"/>
            <p14:sldId id="358"/>
            <p14:sldId id="350"/>
            <p14:sldId id="351"/>
            <p14:sldId id="352"/>
            <p14:sldId id="353"/>
            <p14:sldId id="354"/>
            <p14:sldId id="355"/>
            <p14:sldId id="356"/>
            <p14:sldId id="359"/>
            <p14:sldId id="360"/>
            <p14:sldId id="365"/>
            <p14:sldId id="361"/>
            <p14:sldId id="362"/>
            <p14:sldId id="363"/>
            <p14:sldId id="364"/>
            <p14:sldId id="357"/>
            <p14:sldId id="331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A64A"/>
    <a:srgbClr val="5598D0"/>
    <a:srgbClr val="C38E75"/>
    <a:srgbClr val="202020"/>
    <a:srgbClr val="389E7E"/>
    <a:srgbClr val="01557E"/>
    <a:srgbClr val="FD7D7B"/>
    <a:srgbClr val="9078FC"/>
    <a:srgbClr val="F5F5F5"/>
    <a:srgbClr val="00FF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421" autoAdjust="0"/>
    <p:restoredTop sz="85116" autoAdjust="0"/>
  </p:normalViewPr>
  <p:slideViewPr>
    <p:cSldViewPr>
      <p:cViewPr varScale="1">
        <p:scale>
          <a:sx n="52" d="100"/>
          <a:sy n="52" d="100"/>
        </p:scale>
        <p:origin x="944" y="48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7868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0/2/2015 11:05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0/2/2015 11:05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 </a:t>
            </a:r>
            <a:r>
              <a:rPr lang="en-US" dirty="0" err="1" smtClean="0"/>
              <a:t>los</a:t>
            </a:r>
            <a:r>
              <a:rPr lang="en-US" dirty="0" smtClean="0"/>
              <a:t> </a:t>
            </a:r>
            <a:r>
              <a:rPr lang="en-US" dirty="0" err="1" smtClean="0"/>
              <a:t>estandarizadores</a:t>
            </a:r>
            <a:r>
              <a:rPr lang="en-US" dirty="0" smtClean="0"/>
              <a:t> del </a:t>
            </a:r>
            <a:r>
              <a:rPr lang="en-US" dirty="0" err="1" smtClean="0"/>
              <a:t>disquete</a:t>
            </a:r>
            <a:r>
              <a:rPr lang="en-US" dirty="0" smtClean="0"/>
              <a:t> y C#</a:t>
            </a:r>
            <a:endParaRPr lang="es-ES" dirty="0" smtClean="0"/>
          </a:p>
          <a:p>
            <a:r>
              <a:rPr lang="es-ES" dirty="0" smtClean="0"/>
              <a:t>Completa </a:t>
            </a:r>
            <a:r>
              <a:rPr lang="es-ES" dirty="0" err="1" smtClean="0"/>
              <a:t>retrocomp</a:t>
            </a:r>
            <a:endParaRPr lang="es-ES" dirty="0" smtClean="0"/>
          </a:p>
          <a:p>
            <a:r>
              <a:rPr lang="es-ES" dirty="0" smtClean="0"/>
              <a:t>245 a 600 </a:t>
            </a:r>
            <a:r>
              <a:rPr lang="es-ES" dirty="0" err="1" smtClean="0"/>
              <a:t>pag</a:t>
            </a:r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/2015 11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6235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 </a:t>
            </a:r>
            <a:r>
              <a:rPr lang="en-US" dirty="0" err="1" smtClean="0"/>
              <a:t>los</a:t>
            </a:r>
            <a:r>
              <a:rPr lang="en-US" dirty="0" smtClean="0"/>
              <a:t> </a:t>
            </a:r>
            <a:r>
              <a:rPr lang="en-US" dirty="0" err="1" smtClean="0"/>
              <a:t>estandarizadores</a:t>
            </a:r>
            <a:r>
              <a:rPr lang="en-US" dirty="0" smtClean="0"/>
              <a:t> del </a:t>
            </a:r>
            <a:r>
              <a:rPr lang="en-US" dirty="0" err="1" smtClean="0"/>
              <a:t>disquete</a:t>
            </a:r>
            <a:r>
              <a:rPr lang="en-US" dirty="0" smtClean="0"/>
              <a:t> y C#</a:t>
            </a:r>
            <a:endParaRPr lang="es-ES" dirty="0" smtClean="0"/>
          </a:p>
          <a:p>
            <a:r>
              <a:rPr lang="es-ES" dirty="0" smtClean="0"/>
              <a:t>Completa </a:t>
            </a:r>
            <a:r>
              <a:rPr lang="es-ES" dirty="0" err="1" smtClean="0"/>
              <a:t>retrocomp</a:t>
            </a:r>
            <a:endParaRPr lang="es-ES" dirty="0" smtClean="0"/>
          </a:p>
          <a:p>
            <a:r>
              <a:rPr lang="es-ES" dirty="0" smtClean="0"/>
              <a:t>245 a 600 </a:t>
            </a:r>
            <a:r>
              <a:rPr lang="es-ES" dirty="0" err="1" smtClean="0"/>
              <a:t>pag</a:t>
            </a:r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/2015 11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9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/2015 11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593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10/2/2015 11:05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9105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10/2/2015 11:05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360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10/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Relationship Id="rId6" Type="http://schemas.openxmlformats.org/officeDocument/2006/relationships/hyperlink" Target="http://caniuse.com/" TargetMode="External"/><Relationship Id="rId5" Type="http://schemas.openxmlformats.org/officeDocument/2006/relationships/hyperlink" Target="http://exploringjs.com/" TargetMode="External"/><Relationship Id="rId4" Type="http://schemas.openxmlformats.org/officeDocument/2006/relationships/hyperlink" Target="https://github.com/getify/You-Dont-Know-JS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700232" y="936198"/>
            <a:ext cx="11196624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Programación funcional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&amp;&amp;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ES6</a:t>
            </a:r>
            <a:endParaRPr lang="es-ES" sz="6119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50000"/>
              </a:schemeClr>
            </a:gs>
            <a:gs pos="100000">
              <a:schemeClr val="bg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1437" y="1363662"/>
            <a:ext cx="10058399" cy="6705600"/>
          </a:xfrm>
        </p:spPr>
        <p:txBody>
          <a:bodyPr/>
          <a:lstStyle/>
          <a:p>
            <a:pPr algn="ctr"/>
            <a:r>
              <a:rPr lang="en-US" sz="8800" dirty="0" err="1" smtClean="0"/>
              <a:t>Retrocompatible</a:t>
            </a:r>
            <a:r>
              <a:rPr lang="en-US" sz="8800" dirty="0" smtClean="0"/>
              <a:t/>
            </a:r>
            <a:br>
              <a:rPr lang="en-US" sz="8800" dirty="0" smtClean="0"/>
            </a:br>
            <a:r>
              <a:rPr lang="en-US" sz="8800" dirty="0"/>
              <a:t/>
            </a:r>
            <a:br>
              <a:rPr lang="en-US" sz="8800" dirty="0"/>
            </a:br>
            <a:r>
              <a:rPr lang="en-US" sz="8800" dirty="0" err="1" smtClean="0"/>
              <a:t>Enorme</a:t>
            </a:r>
            <a:r>
              <a:rPr lang="en-US" sz="8800" dirty="0" smtClean="0"/>
              <a:t/>
            </a:r>
            <a:br>
              <a:rPr lang="en-US" sz="8800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64756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84276"/>
            </a:gs>
            <a:gs pos="100000">
              <a:srgbClr val="FEE78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3968" y="1668462"/>
            <a:ext cx="1136446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fo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= 2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eclaracion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b=2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2, b=1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0,b=0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Let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e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new </a:t>
            </a:r>
            <a:r>
              <a:rPr lang="es-ES" b="1" strike="sngStrike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black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va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9722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42999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=3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sh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=[];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n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0442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429999" cy="4136517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.z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3; //Se 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ede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acer</a:t>
            </a:r>
            <a:endParaRPr lang="en-U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.seal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);  //No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it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ñadir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s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res</a:t>
            </a:r>
            <a:endParaRPr lang="en-US" sz="3200" dirty="0" smtClean="0">
              <a:solidFill>
                <a:srgbClr val="DCDCDC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sz="3200" dirty="0" smtClean="0">
              <a:solidFill>
                <a:srgbClr val="DCDCDC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3200" dirty="0" err="1" smtClean="0">
                <a:solidFill>
                  <a:srgbClr val="DCDCD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.freez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); //No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it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ificar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res</a:t>
            </a:r>
            <a:endParaRPr lang="en-U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n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8187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32A6D"/>
            </a:gs>
            <a:gs pos="100000">
              <a:srgbClr val="832D9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201399" cy="2932919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6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668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429999" cy="293291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previous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5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7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AE67FE"/>
            </a:gs>
            <a:gs pos="100000">
              <a:srgbClr val="65DF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2811462"/>
            <a:ext cx="116585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??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6175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4299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!=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ndefine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1430001" cy="1879041"/>
          </a:xfrm>
          <a:prstGeom prst="rect">
            <a:avLst/>
          </a:prstGeo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89158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FFA4"/>
            </a:gs>
            <a:gs pos="100000">
              <a:srgbClr val="00FFFD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06198" cy="451360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x==1, a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1, b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signación desestructurada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56388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490878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.2.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&gt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 altera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numer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=&gt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la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 lambda con =&gt;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8206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D3896"/>
            </a:gs>
            <a:gs pos="100000">
              <a:srgbClr val="1CF9FC">
                <a:lumMod val="100000"/>
              </a:srgb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4530471"/>
          </a:xfrm>
        </p:spPr>
        <p:txBody>
          <a:bodyPr/>
          <a:lstStyle/>
          <a:p>
            <a:r>
              <a:rPr lang="es-ES" dirty="0" smtClean="0"/>
              <a:t>Evitar </a:t>
            </a:r>
            <a:r>
              <a:rPr lang="es-ES" dirty="0" err="1" smtClean="0"/>
              <a:t>side-effects</a:t>
            </a:r>
            <a:endParaRPr lang="es-ES" dirty="0" smtClean="0"/>
          </a:p>
          <a:p>
            <a:pPr lvl="1"/>
            <a:r>
              <a:rPr lang="es-ES" dirty="0" smtClean="0"/>
              <a:t>Una función siempre devuelve el mismo resultado</a:t>
            </a:r>
          </a:p>
          <a:p>
            <a:r>
              <a:rPr lang="es-ES" dirty="0" smtClean="0"/>
              <a:t>Estilo declarativo</a:t>
            </a:r>
          </a:p>
          <a:p>
            <a:r>
              <a:rPr lang="es-ES" dirty="0" smtClean="0"/>
              <a:t>Expresiones lambda</a:t>
            </a:r>
          </a:p>
          <a:p>
            <a:r>
              <a:rPr lang="es-ES" dirty="0" smtClean="0"/>
              <a:t>Mejor concurrencia</a:t>
            </a:r>
          </a:p>
          <a:p>
            <a:r>
              <a:rPr lang="es-ES" dirty="0" smtClean="0"/>
              <a:t>Lenguajes especializados : F#, </a:t>
            </a:r>
            <a:r>
              <a:rPr lang="es-ES" dirty="0" err="1" smtClean="0"/>
              <a:t>Haskell</a:t>
            </a:r>
            <a:endParaRPr lang="es-E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gramación</a:t>
            </a:r>
            <a:r>
              <a:rPr lang="en-U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al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1557E"/>
            </a:gs>
            <a:gs pos="100000">
              <a:srgbClr val="389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82398" cy="487680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oordenadas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s-E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,y,z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 smtClean="0"/>
              <a:t> </a:t>
            </a:r>
            <a:endParaRPr lang="es-E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or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of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74455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1557E"/>
            </a:gs>
            <a:gs pos="100000">
              <a:srgbClr val="389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82398" cy="502329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matematicas.js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port function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7A64A"/>
                </a:solidFill>
                <a:cs typeface="Times New Roman" panose="02020603050405020304" pitchFamily="18" charset="0"/>
              </a:rPr>
              <a:t>//main.js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ort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 </a:t>
            </a:r>
            <a:r>
              <a:rPr lang="en-US" sz="2800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matematicas.js”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ort 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tematicas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 </a:t>
            </a:r>
            <a:r>
              <a:rPr lang="en-US" sz="2800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matematicas.js</a:t>
            </a:r>
            <a:r>
              <a:rPr lang="en-US" sz="2800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endParaRPr lang="en-US" sz="2800" dirty="0" smtClean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err="1" smtClean="0">
                <a:solidFill>
                  <a:schemeClr val="tx1"/>
                </a:solidFill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(3);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err="1">
                <a:solidFill>
                  <a:schemeClr val="tx1"/>
                </a:solidFill>
                <a:cs typeface="Times New Roman" panose="02020603050405020304" pitchFamily="18" charset="0"/>
              </a:rPr>
              <a:t>m</a:t>
            </a:r>
            <a:r>
              <a:rPr lang="en-US" sz="2800" dirty="0" err="1" smtClean="0">
                <a:solidFill>
                  <a:schemeClr val="tx1"/>
                </a:solidFill>
                <a:cs typeface="Times New Roman" panose="02020603050405020304" pitchFamily="18" charset="0"/>
              </a:rPr>
              <a:t>atematicas.cuadrado</a:t>
            </a:r>
            <a:r>
              <a:rPr lang="en-US" sz="28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(3);</a:t>
            </a:r>
            <a:endParaRPr lang="en-US" sz="28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dulo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21041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363662"/>
            <a:ext cx="11429998" cy="466332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ass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ctor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constructor(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,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x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x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y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odulo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th.sqrt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+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s-ES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569CD6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1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new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ctor(1,1);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las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8098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363662"/>
            <a:ext cx="11429998" cy="413638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ass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Complejo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tends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Vector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teReal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return 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teImaginaria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 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}</a:t>
            </a:r>
            <a:endParaRPr lang="es-E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569CD6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new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Complejo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1,1);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las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3905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50585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es-ES" dirty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se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123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ge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delete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z="3200" dirty="0" smtClean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forEach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=&gt;console.log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);</a:t>
            </a:r>
            <a:endParaRPr lang="es-E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&amp; 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03094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50585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et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 </a:t>
            </a:r>
            <a:r>
              <a:rPr lang="es-ES" dirty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(); </a:t>
            </a:r>
            <a:r>
              <a:rPr lang="es-ES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o </a:t>
            </a:r>
            <a:r>
              <a:rPr lang="es-ES" dirty="0" err="1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eakSet</a:t>
            </a:r>
            <a:endParaRPr lang="es-ES" dirty="0" smtClean="0">
              <a:solidFill>
                <a:srgbClr val="57A64A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add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size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delete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z="3200" dirty="0" smtClean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forEach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=&gt;console.log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);</a:t>
            </a:r>
            <a:endParaRPr lang="es-E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&amp; 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3019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429999" cy="2950872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598D0"/>
                </a:solidFill>
              </a:rPr>
              <a:t>var</a:t>
            </a:r>
            <a:r>
              <a:rPr lang="es-ES" dirty="0"/>
              <a:t> u32 = </a:t>
            </a:r>
            <a:r>
              <a:rPr lang="es-ES" dirty="0">
                <a:solidFill>
                  <a:srgbClr val="5598D0"/>
                </a:solidFill>
              </a:rPr>
              <a:t>new</a:t>
            </a:r>
            <a:r>
              <a:rPr lang="es-ES" dirty="0"/>
              <a:t> Uint32Array(16); //Float64Array, </a:t>
            </a:r>
            <a:r>
              <a:rPr lang="es-ES" dirty="0" smtClean="0"/>
              <a:t>Int16Array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5598D0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</a:rPr>
              <a:t>u32[2]=3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strike="sngStrike" dirty="0" smtClean="0">
                <a:solidFill>
                  <a:srgbClr val="FF0000"/>
                </a:solidFill>
              </a:rPr>
              <a:t>u32[0]=“a”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trike="sngStrike" dirty="0" smtClean="0">
              <a:solidFill>
                <a:srgbClr val="FF0000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strike="sngStrike" dirty="0" smtClean="0">
                <a:solidFill>
                  <a:srgbClr val="FF0000"/>
                </a:solidFill>
              </a:rPr>
              <a:t>u32[20]=4;</a:t>
            </a:r>
            <a:endParaRPr lang="es-ES" strike="sngStrike" dirty="0">
              <a:solidFill>
                <a:srgbClr val="FF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yped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ray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2620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12837" y="3677934"/>
            <a:ext cx="11889564" cy="917575"/>
          </a:xfrm>
        </p:spPr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emplate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tring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809037" y="590117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ymbols</a:t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655637" y="649643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terators</a:t>
            </a: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427037" y="5554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xi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5684837" y="531325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ew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umber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tring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</a:p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ray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Object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th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PI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4770437" y="81305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mis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5532437" y="258383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Dynamic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perty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am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0537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52502" y="1374213"/>
            <a:ext cx="8031208" cy="5113426"/>
          </a:xfrm>
        </p:spPr>
        <p:txBody>
          <a:bodyPr/>
          <a:lstStyle/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Visual Studio </a:t>
            </a:r>
            <a:r>
              <a:rPr lang="es-ES" sz="3199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ode</a:t>
            </a: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– Soporta ES6</a:t>
            </a:r>
          </a:p>
          <a:p>
            <a:pPr>
              <a:spcAft>
                <a:spcPts val="1199"/>
              </a:spcAft>
            </a:pPr>
            <a:endParaRPr lang="es-ES" sz="319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Node.js, NPM, babel</a:t>
            </a:r>
          </a:p>
          <a:p>
            <a:pPr>
              <a:spcAft>
                <a:spcPts val="1199"/>
              </a:spcAft>
            </a:pPr>
            <a:endParaRPr lang="es-ES" sz="319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Los últimos navegadores:</a:t>
            </a: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icrosoft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Edge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(para Windows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Insiders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)</a:t>
            </a: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Firefox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Developer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Edition</a:t>
            </a:r>
            <a:endParaRPr lang="es-ES" sz="20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hrome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anary</a:t>
            </a:r>
            <a:endParaRPr lang="es-ES" sz="20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Herramienta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útiles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424107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64380" y="1374213"/>
            <a:ext cx="8031208" cy="5113426"/>
          </a:xfrm>
        </p:spPr>
        <p:txBody>
          <a:bodyPr/>
          <a:lstStyle/>
          <a:p>
            <a:pPr>
              <a:spcAft>
                <a:spcPts val="1199"/>
              </a:spcAft>
            </a:pPr>
            <a:r>
              <a:rPr lang="en-US" sz="2400" dirty="0">
                <a:solidFill>
                  <a:schemeClr val="bg1"/>
                </a:solidFill>
                <a:hlinkClick r:id="rId4"/>
              </a:rPr>
              <a:t>https://</a:t>
            </a:r>
            <a:r>
              <a:rPr lang="en-US" sz="2400" dirty="0" smtClean="0">
                <a:solidFill>
                  <a:schemeClr val="bg1"/>
                </a:solidFill>
                <a:hlinkClick r:id="rId4"/>
              </a:rPr>
              <a:t>github.com/getify/You-Dont-Know-JS</a:t>
            </a: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s-ES" sz="2400" dirty="0">
                <a:solidFill>
                  <a:schemeClr val="bg1"/>
                </a:solidFill>
                <a:hlinkClick r:id="rId5"/>
              </a:rPr>
              <a:t>http://</a:t>
            </a:r>
            <a:r>
              <a:rPr lang="es-ES" sz="2400" dirty="0" smtClean="0">
                <a:solidFill>
                  <a:schemeClr val="bg1"/>
                </a:solidFill>
                <a:hlinkClick r:id="rId5"/>
              </a:rPr>
              <a:t>exploringjs.com</a:t>
            </a:r>
            <a:endParaRPr lang="es-E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n-US" sz="2400" dirty="0" err="1">
                <a:solidFill>
                  <a:schemeClr val="bg1"/>
                </a:solidFill>
              </a:rPr>
              <a:t>Youtube</a:t>
            </a:r>
            <a:r>
              <a:rPr lang="en-US" sz="2400" dirty="0">
                <a:solidFill>
                  <a:schemeClr val="bg1"/>
                </a:solidFill>
              </a:rPr>
              <a:t>: @</a:t>
            </a:r>
            <a:r>
              <a:rPr lang="en-US" sz="2400" dirty="0" err="1">
                <a:solidFill>
                  <a:schemeClr val="bg1"/>
                </a:solidFill>
              </a:rPr>
              <a:t>mpjm</a:t>
            </a:r>
            <a:r>
              <a:rPr lang="en-US" sz="2400" dirty="0">
                <a:solidFill>
                  <a:schemeClr val="bg1"/>
                </a:solidFill>
              </a:rPr>
              <a:t>, @</a:t>
            </a:r>
            <a:r>
              <a:rPr lang="en-US" sz="2400" dirty="0" err="1" smtClean="0">
                <a:solidFill>
                  <a:schemeClr val="bg1"/>
                </a:solidFill>
              </a:rPr>
              <a:t>jsconf</a:t>
            </a: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s-ES" sz="2400" u="sng" dirty="0" smtClean="0">
                <a:solidFill>
                  <a:schemeClr val="bg1"/>
                </a:solidFill>
              </a:rPr>
              <a:t>dev.modern.ie,</a:t>
            </a:r>
            <a:r>
              <a:rPr lang="en-US" sz="2400" dirty="0" smtClean="0">
                <a:solidFill>
                  <a:schemeClr val="bg1"/>
                </a:solidFill>
              </a:rPr>
              <a:t> MDN</a:t>
            </a:r>
          </a:p>
          <a:p>
            <a:pPr>
              <a:spcAft>
                <a:spcPts val="1199"/>
              </a:spcAft>
            </a:pPr>
            <a:endParaRPr lang="en-US" sz="2400" dirty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n-US" sz="2400" dirty="0">
                <a:solidFill>
                  <a:schemeClr val="bg1"/>
                </a:solidFill>
                <a:hlinkClick r:id="rId6"/>
              </a:rPr>
              <a:t>http://</a:t>
            </a:r>
            <a:r>
              <a:rPr lang="en-US" sz="2400" dirty="0" smtClean="0">
                <a:solidFill>
                  <a:schemeClr val="bg1"/>
                </a:solidFill>
                <a:hlinkClick r:id="rId6"/>
              </a:rPr>
              <a:t>caniuse.com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Recurso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vanzado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de JavaScript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339138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5355312"/>
          </a:xfrm>
        </p:spPr>
        <p:txBody>
          <a:bodyPr/>
          <a:lstStyle/>
          <a:p>
            <a:r>
              <a:rPr lang="es-ES" dirty="0" smtClean="0"/>
              <a:t>No es un lenguaje funcional puro</a:t>
            </a:r>
          </a:p>
          <a:p>
            <a:pPr lvl="1"/>
            <a:r>
              <a:rPr lang="es-ES" dirty="0" smtClean="0"/>
              <a:t>Evaluación perezosa</a:t>
            </a:r>
          </a:p>
          <a:p>
            <a:pPr lvl="1"/>
            <a:r>
              <a:rPr lang="es-ES" dirty="0" smtClean="0"/>
              <a:t>Inmutabilidad</a:t>
            </a:r>
          </a:p>
          <a:p>
            <a:r>
              <a:rPr lang="es-ES" dirty="0" smtClean="0"/>
              <a:t>Es </a:t>
            </a:r>
            <a:r>
              <a:rPr lang="es-ES" dirty="0" err="1" smtClean="0"/>
              <a:t>multiparadigma</a:t>
            </a:r>
            <a:endParaRPr lang="es-ES" dirty="0"/>
          </a:p>
          <a:p>
            <a:pPr lvl="1"/>
            <a:r>
              <a:rPr lang="es-ES" dirty="0" smtClean="0"/>
              <a:t>Imperativo</a:t>
            </a:r>
          </a:p>
          <a:p>
            <a:pPr lvl="1"/>
            <a:r>
              <a:rPr lang="es-ES" dirty="0" smtClean="0"/>
              <a:t>Orientado a objetos</a:t>
            </a:r>
          </a:p>
          <a:p>
            <a:pPr lvl="1"/>
            <a:r>
              <a:rPr lang="es-ES" dirty="0" smtClean="0"/>
              <a:t>Funcional</a:t>
            </a:r>
          </a:p>
          <a:p>
            <a:r>
              <a:rPr lang="es-ES" dirty="0" smtClean="0"/>
              <a:t>Podemos usar en cada momento el estilo mas adecuado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 JS un lenguaje funcional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618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966128" y="4411662"/>
            <a:ext cx="68852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</a:rPr>
              <a:t>https://github.com/uamnet/techtalks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6778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506199" cy="3791807"/>
          </a:xfrm>
          <a:solidFill>
            <a:srgbClr val="202020">
              <a:alpha val="70000"/>
            </a:srgbClr>
          </a:solidFill>
          <a:ln w="12700" cap="sq" cmpd="thickThin">
            <a:solidFill>
              <a:schemeClr val="tx1"/>
            </a:solidFill>
            <a:bevel/>
          </a:ln>
        </p:spPr>
        <p:txBody>
          <a:bodyPr/>
          <a:lstStyle/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Las funciones son de primera clase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Times New Roman" panose="02020603050405020304" pitchFamily="18" charset="0"/>
              </a:rPr>
              <a:t>suma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Y también son de orden superior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f,x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f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smtClean="0">
                <a:solidFill>
                  <a:srgbClr val="B5CEA8"/>
                </a:solidFill>
                <a:ea typeface="Times New Roman" panose="02020603050405020304" pitchFamily="18" charset="0"/>
              </a:rPr>
              <a:t>3,x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suma,1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57A64A"/>
                </a:solidFill>
                <a:ea typeface="Times New Roman" panose="02020603050405020304" pitchFamily="18" charset="0"/>
              </a:rPr>
              <a:t>//</a:t>
            </a:r>
            <a:r>
              <a:rPr lang="en-US" dirty="0">
                <a:solidFill>
                  <a:srgbClr val="57A64A"/>
                </a:solidFill>
                <a:ea typeface="Times New Roman" panose="02020603050405020304" pitchFamily="18" charset="0"/>
              </a:rPr>
              <a:t>4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0030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897062"/>
            <a:ext cx="11887200" cy="3741217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Forma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 dice: 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4162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7200" cy="38549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Pedro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ilt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ilte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319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7ABC3"/>
            </a:gs>
            <a:gs pos="100000">
              <a:srgbClr val="FCF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9566" cy="306442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sz="1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Mensajes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ndex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rray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=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})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Reduce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5885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887200" cy="4926733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 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y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n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scope)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ope = scope || window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gs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]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for 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2,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n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guments.length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&lt;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n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 ++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gs.push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arguments[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)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return function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   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n.apply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scope,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gs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}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dirty="0" smtClean="0">
              <a:solidFill>
                <a:srgbClr val="569CD6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</a:t>
            </a:r>
            <a:r>
              <a:rPr lang="en-U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</a:t>
            </a:r>
            <a:r>
              <a:rPr lang="en-U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dd3=curry(</a:t>
            </a:r>
            <a:r>
              <a:rPr lang="en-U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ar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this, 3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dd3(4);  </a:t>
            </a:r>
            <a:r>
              <a:rPr lang="en-US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7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urry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65554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50000"/>
              </a:schemeClr>
            </a:gs>
            <a:gs pos="100000">
              <a:schemeClr val="bg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8800" dirty="0" smtClean="0"/>
              <a:t>EcmaScript6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800" dirty="0" smtClean="0"/>
              <a:t>Coming soon  to a browser near you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5380037" y="3192462"/>
            <a:ext cx="53340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3549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dcmitype/"/>
    <ds:schemaRef ds:uri="230e9df3-be65-4c73-a93b-d1236ebd677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purl.org/dc/terms/"/>
    <ds:schemaRef ds:uri="12a172fe-0250-434a-85cf-03b10810c5e5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758</TotalTime>
  <Words>842</Words>
  <Application>Microsoft Office PowerPoint</Application>
  <PresentationFormat>Custom</PresentationFormat>
  <Paragraphs>302</Paragraphs>
  <Slides>3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3" baseType="lpstr">
      <vt:lpstr>Arial</vt:lpstr>
      <vt:lpstr>Avenir LT Pro 45 Book</vt:lpstr>
      <vt:lpstr>Calibri</vt:lpstr>
      <vt:lpstr>Consolas</vt:lpstr>
      <vt:lpstr>ＭＳ Ｐゴシック</vt:lpstr>
      <vt:lpstr>Segoe UI</vt:lpstr>
      <vt:lpstr>Segoe UI Light</vt:lpstr>
      <vt:lpstr>Times New Roman</vt:lpstr>
      <vt:lpstr>5-30629_Build_Template_WHITE</vt:lpstr>
      <vt:lpstr>1_5-30629_Build_Template_DARK BLUE</vt:lpstr>
      <vt:lpstr>1_5-30629_Build_Template_WHITE</vt:lpstr>
      <vt:lpstr>3_5-30629_Build_Template_WHITE</vt:lpstr>
      <vt:lpstr>think-cell Slide</vt:lpstr>
      <vt:lpstr>PowerPoint Presentation</vt:lpstr>
      <vt:lpstr>Programación funcional</vt:lpstr>
      <vt:lpstr>Es JS un lenguaje funcional?</vt:lpstr>
      <vt:lpstr>Funciones</vt:lpstr>
      <vt:lpstr>Trabajando con datos: Map</vt:lpstr>
      <vt:lpstr>Trabajando con datos: Filter</vt:lpstr>
      <vt:lpstr>Trabajando con datos: Reduce</vt:lpstr>
      <vt:lpstr>Curry</vt:lpstr>
      <vt:lpstr>EcmaScript6 Coming soon  to a browser near you</vt:lpstr>
      <vt:lpstr>Retrocompatible  Enorme  </vt:lpstr>
      <vt:lpstr>Let is the new black var</vt:lpstr>
      <vt:lpstr>Const</vt:lpstr>
      <vt:lpstr>Const</vt:lpstr>
      <vt:lpstr>Spread / Rest</vt:lpstr>
      <vt:lpstr>Spread / Rest</vt:lpstr>
      <vt:lpstr>Argumentos por defecto</vt:lpstr>
      <vt:lpstr>Argumentos por defecto</vt:lpstr>
      <vt:lpstr>Asignación desestructurada</vt:lpstr>
      <vt:lpstr>Funciones lambda con =&gt;</vt:lpstr>
      <vt:lpstr>For of</vt:lpstr>
      <vt:lpstr>Modulos</vt:lpstr>
      <vt:lpstr>Clases</vt:lpstr>
      <vt:lpstr>Clases</vt:lpstr>
      <vt:lpstr>Maps &amp; Sets</vt:lpstr>
      <vt:lpstr>Maps &amp; Sets</vt:lpstr>
      <vt:lpstr>Typed arrays</vt:lpstr>
      <vt:lpstr>Template strings </vt:lpstr>
      <vt:lpstr>Herramientas útiles</vt:lpstr>
      <vt:lpstr>Recursos avanzados de JavaScript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20</cp:revision>
  <dcterms:created xsi:type="dcterms:W3CDTF">2015-04-29T17:53:46Z</dcterms:created>
  <dcterms:modified xsi:type="dcterms:W3CDTF">2015-10-02T09:1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